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0D348-1BF8-E1E6-45EC-5CC1D2B1B1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E3CEFAA-7A5D-1854-94D8-14F402EA80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3CEFAA-7A5D-1854-94D8-14F402EA80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DB7D95-C416-6D06-E0F7-870B9C4C2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8E39E40-230E-BCFC-96BD-8A32B6F60D7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29462AB0-872E-F147-E2B2-E77C37860B55}"/>
              </a:ext>
            </a:extLst>
          </p:cNvPr>
          <p:cNvGrpSpPr/>
          <p:nvPr/>
        </p:nvGrpSpPr>
        <p:grpSpPr>
          <a:xfrm>
            <a:off x="536468" y="1069205"/>
            <a:ext cx="10968835" cy="4794449"/>
            <a:chOff x="837333" y="1067696"/>
            <a:chExt cx="10667970" cy="4349866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0F0A697-22FF-145D-447F-77D85E0F92C7}"/>
                </a:ext>
              </a:extLst>
            </p:cNvPr>
            <p:cNvSpPr txBox="1">
              <a:spLocks/>
            </p:cNvSpPr>
            <p:nvPr/>
          </p:nvSpPr>
          <p:spPr>
            <a:xfrm>
              <a:off x="4988894" y="1067696"/>
              <a:ext cx="97721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Slide No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365E68C0-8C57-AC4F-CC04-3A7D5C115516}"/>
                </a:ext>
              </a:extLst>
            </p:cNvPr>
            <p:cNvSpPr txBox="1">
              <a:spLocks/>
            </p:cNvSpPr>
            <p:nvPr/>
          </p:nvSpPr>
          <p:spPr>
            <a:xfrm>
              <a:off x="10510100" y="1067696"/>
              <a:ext cx="97721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Slide No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647CA5FF-94A6-E794-28C0-B75885B3C584}"/>
                </a:ext>
              </a:extLst>
            </p:cNvPr>
            <p:cNvSpPr/>
            <p:nvPr/>
          </p:nvSpPr>
          <p:spPr>
            <a:xfrm>
              <a:off x="848396" y="1128247"/>
              <a:ext cx="1546075" cy="289127"/>
            </a:xfrm>
            <a:prstGeom prst="rect">
              <a:avLst/>
            </a:prstGeom>
            <a:solidFill>
              <a:schemeClr val="accent1"/>
            </a:solidFill>
            <a:ln>
              <a:solidFill>
                <a:srgbClr val="1951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b="1" dirty="0">
                  <a:solidFill>
                    <a:srgbClr val="FFFFFF"/>
                  </a:solidFill>
                </a:rPr>
                <a:t>Title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CE47159-8FF9-D1E3-A5F3-CE9FDAB53841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1525750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006B3AFD-DBE5-E955-A0CC-ACF0C03ECD2C}"/>
                </a:ext>
              </a:extLst>
            </p:cNvPr>
            <p:cNvCxnSpPr/>
            <p:nvPr/>
          </p:nvCxnSpPr>
          <p:spPr>
            <a:xfrm>
              <a:off x="848399" y="1870456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456A5E6D-81C2-EA06-4ADD-9E5142976769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1926047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BFAD8C2D-4069-F1D3-961C-8E592AAB2E0C}"/>
                </a:ext>
              </a:extLst>
            </p:cNvPr>
            <p:cNvCxnSpPr/>
            <p:nvPr/>
          </p:nvCxnSpPr>
          <p:spPr>
            <a:xfrm>
              <a:off x="848399" y="2270754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7781581A-3A86-4EC9-E1DB-966AB5B445D2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2326344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D05638CF-4BDD-C234-F3D3-59FAE9723870}"/>
                </a:ext>
              </a:extLst>
            </p:cNvPr>
            <p:cNvCxnSpPr/>
            <p:nvPr/>
          </p:nvCxnSpPr>
          <p:spPr>
            <a:xfrm>
              <a:off x="848399" y="2671051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44D959D-0329-C822-291A-918BA4FE660E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2726644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4EB984DC-FFC8-9F3D-DEC7-1D16BA8721FD}"/>
                </a:ext>
              </a:extLst>
            </p:cNvPr>
            <p:cNvCxnSpPr/>
            <p:nvPr/>
          </p:nvCxnSpPr>
          <p:spPr>
            <a:xfrm>
              <a:off x="848399" y="3071348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D7527FBE-815B-D91A-EF13-4F8BC123ED68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3126943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04F9E72D-5650-B69E-1075-67CEE969684E}"/>
                </a:ext>
              </a:extLst>
            </p:cNvPr>
            <p:cNvCxnSpPr/>
            <p:nvPr/>
          </p:nvCxnSpPr>
          <p:spPr>
            <a:xfrm>
              <a:off x="848399" y="3471647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4097B130-AB66-E5F1-D183-5A0306EB7D11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3527243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1C572A5A-11C8-FDCF-C9DF-A371FACAD25A}"/>
                </a:ext>
              </a:extLst>
            </p:cNvPr>
            <p:cNvCxnSpPr/>
            <p:nvPr/>
          </p:nvCxnSpPr>
          <p:spPr>
            <a:xfrm>
              <a:off x="848399" y="3871946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45A2792C-F6EE-4170-FA8A-4194349C4829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3927537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BF705F0A-6E9D-C674-3E7C-5FCC2E3282BA}"/>
                </a:ext>
              </a:extLst>
            </p:cNvPr>
            <p:cNvCxnSpPr/>
            <p:nvPr/>
          </p:nvCxnSpPr>
          <p:spPr>
            <a:xfrm>
              <a:off x="848399" y="4272245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8482E5D1-1DFC-2300-252F-41E650D8A245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4327834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7E18BE8-FFFD-60A5-8DB6-51499702EF46}"/>
                </a:ext>
              </a:extLst>
            </p:cNvPr>
            <p:cNvCxnSpPr/>
            <p:nvPr/>
          </p:nvCxnSpPr>
          <p:spPr>
            <a:xfrm>
              <a:off x="848399" y="4672541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4B7FB0BA-39B2-A510-A7D6-65101D45BF2E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4728130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EF0D2E7-FF6C-9DA7-F557-6BD23CE3A50E}"/>
                </a:ext>
              </a:extLst>
            </p:cNvPr>
            <p:cNvCxnSpPr/>
            <p:nvPr/>
          </p:nvCxnSpPr>
          <p:spPr>
            <a:xfrm>
              <a:off x="848399" y="5072838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E085E4D2-726A-94EA-5475-C85800195BA1}"/>
                </a:ext>
              </a:extLst>
            </p:cNvPr>
            <p:cNvSpPr txBox="1"/>
            <p:nvPr/>
          </p:nvSpPr>
          <p:spPr>
            <a:xfrm>
              <a:off x="848399" y="1525750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3AC9EA7B-E9BB-D5A1-4A9A-7AF1BAB49AC3}"/>
                </a:ext>
              </a:extLst>
            </p:cNvPr>
            <p:cNvSpPr txBox="1"/>
            <p:nvPr/>
          </p:nvSpPr>
          <p:spPr>
            <a:xfrm>
              <a:off x="848399" y="1926047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9B20E34A-1C17-5881-C015-A3D0CB30A64E}"/>
                </a:ext>
              </a:extLst>
            </p:cNvPr>
            <p:cNvSpPr txBox="1"/>
            <p:nvPr/>
          </p:nvSpPr>
          <p:spPr>
            <a:xfrm>
              <a:off x="848399" y="2326346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FC49D41-16C3-3173-5DA5-746572A21091}"/>
                </a:ext>
              </a:extLst>
            </p:cNvPr>
            <p:cNvSpPr txBox="1"/>
            <p:nvPr/>
          </p:nvSpPr>
          <p:spPr>
            <a:xfrm>
              <a:off x="848399" y="2726644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C0581FB3-0179-A1BA-5938-BBA6C8848F0A}"/>
                </a:ext>
              </a:extLst>
            </p:cNvPr>
            <p:cNvSpPr txBox="1"/>
            <p:nvPr/>
          </p:nvSpPr>
          <p:spPr>
            <a:xfrm>
              <a:off x="848399" y="3126943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A5DF2451-A1C7-E4D5-0C6C-179B12B8F09B}"/>
                </a:ext>
              </a:extLst>
            </p:cNvPr>
            <p:cNvSpPr txBox="1"/>
            <p:nvPr/>
          </p:nvSpPr>
          <p:spPr>
            <a:xfrm>
              <a:off x="848399" y="3527243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1DF4FB27-6769-BACD-8D9D-8C7147056C9E}"/>
                </a:ext>
              </a:extLst>
            </p:cNvPr>
            <p:cNvSpPr txBox="1"/>
            <p:nvPr/>
          </p:nvSpPr>
          <p:spPr>
            <a:xfrm>
              <a:off x="848399" y="3927538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D282A8C3-9F3F-D177-4047-A27E5560E379}"/>
                </a:ext>
              </a:extLst>
            </p:cNvPr>
            <p:cNvSpPr txBox="1"/>
            <p:nvPr/>
          </p:nvSpPr>
          <p:spPr>
            <a:xfrm>
              <a:off x="848399" y="4327834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3E608A02-5518-81FE-7E88-684EA5CA0411}"/>
                </a:ext>
              </a:extLst>
            </p:cNvPr>
            <p:cNvSpPr txBox="1"/>
            <p:nvPr/>
          </p:nvSpPr>
          <p:spPr>
            <a:xfrm>
              <a:off x="848399" y="4728130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7E3F33E2-4300-6F18-CAA3-F2FB7992B841}"/>
                </a:ext>
              </a:extLst>
            </p:cNvPr>
            <p:cNvSpPr txBox="1"/>
            <p:nvPr/>
          </p:nvSpPr>
          <p:spPr>
            <a:xfrm>
              <a:off x="848399" y="5128435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D91BFA3B-3B02-B728-E74D-AD6B16A2EC7C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5128435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41019A30-387D-0E31-F1C9-9A9817681E07}"/>
                </a:ext>
              </a:extLst>
            </p:cNvPr>
            <p:cNvSpPr/>
            <p:nvPr/>
          </p:nvSpPr>
          <p:spPr>
            <a:xfrm>
              <a:off x="6388255" y="1128247"/>
              <a:ext cx="1546074" cy="289127"/>
            </a:xfrm>
            <a:prstGeom prst="rect">
              <a:avLst/>
            </a:prstGeom>
            <a:solidFill>
              <a:schemeClr val="accent2"/>
            </a:solidFill>
            <a:ln>
              <a:solidFill>
                <a:srgbClr val="0B8A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b="1" dirty="0">
                  <a:solidFill>
                    <a:srgbClr val="FFFFFF"/>
                  </a:solidFill>
                </a:rPr>
                <a:t>Title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DB45542-D598-A014-CED2-715998F8ABAC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1525750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8C527C1-4DE6-4BE5-881B-6163899CED5A}"/>
                </a:ext>
              </a:extLst>
            </p:cNvPr>
            <p:cNvCxnSpPr/>
            <p:nvPr/>
          </p:nvCxnSpPr>
          <p:spPr>
            <a:xfrm>
              <a:off x="6388254" y="1870456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B3427CAA-9B91-37FD-EDDF-4CBB2CDBB8AF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1926047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A478C7F9-5431-6343-2493-D348B0057503}"/>
                </a:ext>
              </a:extLst>
            </p:cNvPr>
            <p:cNvCxnSpPr/>
            <p:nvPr/>
          </p:nvCxnSpPr>
          <p:spPr>
            <a:xfrm>
              <a:off x="6388254" y="2270754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5DED10B8-3ACC-F660-420E-21747F50527C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2326344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AD07F669-65CE-DAEC-CB90-FC437D8D95B1}"/>
                </a:ext>
              </a:extLst>
            </p:cNvPr>
            <p:cNvCxnSpPr/>
            <p:nvPr/>
          </p:nvCxnSpPr>
          <p:spPr>
            <a:xfrm>
              <a:off x="6388254" y="2671051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FD0B55C5-7A4B-670D-CD13-6069B332F33B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2726644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4FB658A7-B8A4-7F77-9761-0EC2F18E5F1D}"/>
                </a:ext>
              </a:extLst>
            </p:cNvPr>
            <p:cNvCxnSpPr/>
            <p:nvPr/>
          </p:nvCxnSpPr>
          <p:spPr>
            <a:xfrm>
              <a:off x="6388254" y="3071348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CC6681E0-D469-86AE-904B-E7FF0BBBACD5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3126943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C46C0BF-2C7F-7837-AC88-6DBB9C97D076}"/>
                </a:ext>
              </a:extLst>
            </p:cNvPr>
            <p:cNvCxnSpPr/>
            <p:nvPr/>
          </p:nvCxnSpPr>
          <p:spPr>
            <a:xfrm>
              <a:off x="6388254" y="3471647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E7D89B62-3CAD-3F39-2177-3B3769A49563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3527243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20C3FAE8-CAC6-A1F6-597D-80426CCEA58E}"/>
                </a:ext>
              </a:extLst>
            </p:cNvPr>
            <p:cNvCxnSpPr/>
            <p:nvPr/>
          </p:nvCxnSpPr>
          <p:spPr>
            <a:xfrm>
              <a:off x="6388254" y="3871946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280714E2-884B-FEF9-0E40-4FCDE764AD22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3927537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A5DA5DCB-5BBB-65E3-1600-AF9DD0F64C1D}"/>
                </a:ext>
              </a:extLst>
            </p:cNvPr>
            <p:cNvCxnSpPr/>
            <p:nvPr/>
          </p:nvCxnSpPr>
          <p:spPr>
            <a:xfrm>
              <a:off x="6388254" y="4272245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5AC240A6-10A8-765D-E8F3-5BCB3A6ECAE8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4327834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08C5907E-79E3-4060-CAB6-7C8BDD0F70B2}"/>
                </a:ext>
              </a:extLst>
            </p:cNvPr>
            <p:cNvCxnSpPr/>
            <p:nvPr/>
          </p:nvCxnSpPr>
          <p:spPr>
            <a:xfrm>
              <a:off x="6388254" y="4672541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BA944F2C-F45B-E6BE-B2DF-AFDEE3D181C4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4728130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CFA4C52F-E998-9A6E-01B1-BF59C1015C42}"/>
                </a:ext>
              </a:extLst>
            </p:cNvPr>
            <p:cNvCxnSpPr/>
            <p:nvPr/>
          </p:nvCxnSpPr>
          <p:spPr>
            <a:xfrm>
              <a:off x="6388254" y="5072838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832FE82F-F220-B9D1-EC80-77B820BEB49A}"/>
                </a:ext>
              </a:extLst>
            </p:cNvPr>
            <p:cNvSpPr txBox="1"/>
            <p:nvPr/>
          </p:nvSpPr>
          <p:spPr>
            <a:xfrm>
              <a:off x="6388255" y="1525750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5F1F0D0C-0C86-681A-281A-B0B26AC91DDE}"/>
                </a:ext>
              </a:extLst>
            </p:cNvPr>
            <p:cNvSpPr txBox="1"/>
            <p:nvPr/>
          </p:nvSpPr>
          <p:spPr>
            <a:xfrm>
              <a:off x="6388255" y="1926047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A82FD254-3AC5-D618-8731-810BC04DE578}"/>
                </a:ext>
              </a:extLst>
            </p:cNvPr>
            <p:cNvSpPr txBox="1"/>
            <p:nvPr/>
          </p:nvSpPr>
          <p:spPr>
            <a:xfrm>
              <a:off x="6388255" y="2326346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A02A179-FA8D-B5F2-6C61-EE077563522B}"/>
                </a:ext>
              </a:extLst>
            </p:cNvPr>
            <p:cNvSpPr txBox="1"/>
            <p:nvPr/>
          </p:nvSpPr>
          <p:spPr>
            <a:xfrm>
              <a:off x="6388255" y="2726644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C7AFEBFB-F923-BB2C-B592-8B7FD1E4D118}"/>
                </a:ext>
              </a:extLst>
            </p:cNvPr>
            <p:cNvSpPr txBox="1"/>
            <p:nvPr/>
          </p:nvSpPr>
          <p:spPr>
            <a:xfrm>
              <a:off x="6388255" y="3126943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F886CC4E-3921-7351-5C65-3869BFD182B1}"/>
                </a:ext>
              </a:extLst>
            </p:cNvPr>
            <p:cNvSpPr txBox="1"/>
            <p:nvPr/>
          </p:nvSpPr>
          <p:spPr>
            <a:xfrm>
              <a:off x="6388255" y="3527243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C5448A58-3168-9417-191C-A15F7EADFC2D}"/>
                </a:ext>
              </a:extLst>
            </p:cNvPr>
            <p:cNvSpPr txBox="1"/>
            <p:nvPr/>
          </p:nvSpPr>
          <p:spPr>
            <a:xfrm>
              <a:off x="6388255" y="3927538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8CA52DBF-3F06-301D-6EF1-15476A386034}"/>
                </a:ext>
              </a:extLst>
            </p:cNvPr>
            <p:cNvSpPr txBox="1"/>
            <p:nvPr/>
          </p:nvSpPr>
          <p:spPr>
            <a:xfrm>
              <a:off x="6388255" y="4327834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1A64A230-96EB-2209-543E-80AB4724A406}"/>
                </a:ext>
              </a:extLst>
            </p:cNvPr>
            <p:cNvSpPr txBox="1"/>
            <p:nvPr/>
          </p:nvSpPr>
          <p:spPr>
            <a:xfrm>
              <a:off x="6388255" y="4728130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C4AC2FB0-1C31-F0F2-92D4-83EA2D4617FD}"/>
                </a:ext>
              </a:extLst>
            </p:cNvPr>
            <p:cNvSpPr txBox="1"/>
            <p:nvPr/>
          </p:nvSpPr>
          <p:spPr>
            <a:xfrm>
              <a:off x="6388255" y="5128435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48092C77-13DE-FB6D-F10E-B324668EA668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5128435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7379E028-6F00-B5A5-03DA-A2CECD3B7689}"/>
                </a:ext>
              </a:extLst>
            </p:cNvPr>
            <p:cNvCxnSpPr/>
            <p:nvPr/>
          </p:nvCxnSpPr>
          <p:spPr>
            <a:xfrm>
              <a:off x="837333" y="1438445"/>
              <a:ext cx="5128098" cy="0"/>
            </a:xfrm>
            <a:prstGeom prst="line">
              <a:avLst/>
            </a:prstGeom>
            <a:ln>
              <a:solidFill>
                <a:srgbClr val="195167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D5897CB8-D315-C894-3113-17E696827589}"/>
                </a:ext>
              </a:extLst>
            </p:cNvPr>
            <p:cNvCxnSpPr/>
            <p:nvPr/>
          </p:nvCxnSpPr>
          <p:spPr>
            <a:xfrm>
              <a:off x="6377475" y="1438445"/>
              <a:ext cx="5127827" cy="0"/>
            </a:xfrm>
            <a:prstGeom prst="line">
              <a:avLst/>
            </a:prstGeom>
            <a:ln>
              <a:solidFill>
                <a:srgbClr val="0B8A9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88848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9</TotalTime>
  <Words>88</Words>
  <Application>Microsoft Office PowerPoint</Application>
  <PresentationFormat>Widescreen</PresentationFormat>
  <Paragraphs>4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31</cp:revision>
  <dcterms:created xsi:type="dcterms:W3CDTF">2021-03-31T02:49:57Z</dcterms:created>
  <dcterms:modified xsi:type="dcterms:W3CDTF">2025-10-16T11:14:42Z</dcterms:modified>
  <cp:category/>
</cp:coreProperties>
</file>